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4"/>
  </p:notesMasterIdLst>
  <p:sldIdLst>
    <p:sldId id="634" r:id="rId6"/>
    <p:sldId id="658" r:id="rId7"/>
    <p:sldId id="659" r:id="rId8"/>
    <p:sldId id="662" r:id="rId9"/>
    <p:sldId id="660" r:id="rId10"/>
    <p:sldId id="664" r:id="rId11"/>
    <p:sldId id="661" r:id="rId12"/>
    <p:sldId id="663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8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68E0D5-402D-4A8B-BB36-E623750921E3}" type="datetimeFigureOut">
              <a:rPr lang="es-AR" smtClean="0"/>
              <a:t>17/11/2020</a:t>
            </a:fld>
            <a:endParaRPr lang="es-A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FE6E25-A7E9-407D-A807-1F773B1A0924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564922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1601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0449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6395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95640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1921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6746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3A5B-4D0E-4C6C-89B2-A52AB0299B6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206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D7798-8550-4E42-83AF-A41883ED2591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BA463D-D2B9-534F-8AF7-13A264943A2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99667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1532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5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85093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32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0975" y="127001"/>
            <a:ext cx="11839576" cy="10541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292567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19504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6936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4241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80393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86617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89900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0238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9959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686DCD-966A-4CD8-B214-73988935E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7887F4-7302-4A0B-AA8E-C10DCC64F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95401"/>
            <a:ext cx="10972800" cy="48307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0109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12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836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69" y="4427887"/>
            <a:ext cx="5789202" cy="12855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1292" y="636663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>
                <a:solidFill>
                  <a:srgbClr val="10069F"/>
                </a:solidFill>
              </a:rPr>
              <a:pPr/>
              <a:t>‹#›</a:t>
            </a:fld>
            <a:endParaRPr lang="en-US">
              <a:solidFill>
                <a:srgbClr val="10069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1578037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4661A9-7204-445B-936C-7D2DD539C7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4661A9-7204-445B-936C-7D2DD539C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35E5E0-A063-4CF4-9ED9-43E2E5CCC8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1643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9F806-7B2B-402D-BF57-0795A5560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9F806-7B2B-402D-BF57-0795A5560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EDBD6F-66CB-4B71-9200-9138DAA9E5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3" y="808490"/>
            <a:ext cx="11833435" cy="430887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US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6045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D0934-0219-4048-A663-939AD649AE44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BFDE31-20D6-FF44-9476-550A94ABDA78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13709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63562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8A4F6-3C63-4247-AEF6-6996702AD436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7511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7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006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A96740-8B70-46BE-BDC2-7C72BFB81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A96740-8B70-46BE-BDC2-7C72BFB81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5F7A69-03D2-4F62-A1EC-639DABE6C6C1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36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2D7798-8550-4E42-83AF-A41883ED2591}" type="datetimeFigureOut">
              <a:rPr lang="pt-BR" smtClean="0"/>
              <a:t>16/11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BA463D-D2B9-534F-8AF7-13A264943A28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9743" y="2640429"/>
            <a:ext cx="5032515" cy="1577142"/>
          </a:xfrm>
          <a:prstGeom prst="rect">
            <a:avLst/>
          </a:prstGeom>
        </p:spPr>
      </p:pic>
      <p:sp>
        <p:nvSpPr>
          <p:cNvPr id="8" name="Espaço Reservado para Título 1">
            <a:extLst>
              <a:ext uri="{FF2B5EF4-FFF2-40B4-BE49-F238E27FC236}">
                <a16:creationId xmlns:a16="http://schemas.microsoft.com/office/drawing/2014/main" id="{5996C7F0-8A30-4CCD-8C7B-B0750673F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383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835670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bg1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4000" b="1" i="0" baseline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tângulo 7"/>
          <p:cNvSpPr/>
          <p:nvPr userDrawn="1"/>
        </p:nvSpPr>
        <p:spPr>
          <a:xfrm>
            <a:off x="0" y="6311900"/>
            <a:ext cx="12192000" cy="56109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10069F"/>
              </a:solidFill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80975" y="127000"/>
            <a:ext cx="1183957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713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pt-BR"/>
              <a:t>Nome da Apresentação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58FEB-8FE9-CE45-8E51-A89F9932ED1F}" type="slidenum">
              <a:rPr lang="pt-BR" smtClean="0"/>
              <a:t>‹#›</a:t>
            </a:fld>
            <a:endParaRPr lang="pt-BR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993" y="6311104"/>
            <a:ext cx="1763865" cy="55277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26212" y="6298064"/>
            <a:ext cx="2499145" cy="57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192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rgbClr val="10069F"/>
          </a:solidFill>
          <a:latin typeface="+mj-lt"/>
          <a:ea typeface="Arial Black" panose="020B0604020202020204" pitchFamily="34" charset="0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251EBB8E-179F-48A3-84F0-249B4E14E6A3}"/>
              </a:ext>
            </a:extLst>
          </p:cNvPr>
          <p:cNvSpPr/>
          <p:nvPr/>
        </p:nvSpPr>
        <p:spPr>
          <a:xfrm>
            <a:off x="2442258" y="1798377"/>
            <a:ext cx="6863788" cy="3693319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Key Warehous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Process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The key to optimizing any warehouse process lies in the ability to collect and analyze data, review/improve existing processes, and introduce the right technology in the right places.</a:t>
            </a:r>
            <a:br>
              <a:rPr kumimoji="0" lang="es-E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10069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s-AR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10069F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0351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ption</a:t>
            </a: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iving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397031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receive cargo efficiently and correctly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avoid accumulation at the receiving dock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ution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wer pallet trucks and conveyors to unload cargo and clear dock areas faster and more efficiently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ght software to properly Put-Away goods &amp; allocate the right amount of personnel to unload  (WMS system, labor management systems and dock scheduler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it is necessary, dimensions automate the capture of weight and dimensions of pallets to accelerate your receiving processing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blems or No Problems on all subsequent oper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fer of responsibility for the goods to the warehou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ountability on the warehouse for maintaining the condition of the goo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onsibility to filter out damaged good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warehouse should be able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if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at it has received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right produc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right quant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the right condi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 the right ti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cessary Resources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MS syste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priate unload &amp; stretch wrappers equi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ed staf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etch Wrapping standar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specs Palletiz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 measuring instru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equate Staging dimensions and/or available and safe place to product handling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73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483209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 &amp; Solu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nitor Storage Capacity &amp; Space Availability through WMS, using technology to track space utilization, or performing an ABC analysis to re-structure the warehouse layou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warehouse must use barcode scanners (RFIDs) to automatically record tasks without any human intervention or use more advanced solutions, such as sensors to deliver real-time tracking of capacity and space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duce travel time of products from the receiving area to the storage loca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Fixed &amp; Dynamic Locations that help increase the efficiency of the process . A fixed location can be associated with a specific product category (Wipes) or customer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ep the Warehouse Clean &amp; Organized ( reduced risk, increase safety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83209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iling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ce products in their most ideal loc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an impair the productivity of warehouse opera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efits of put away properly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go is stored faster and more efficient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vel time is minimiz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 of goods and employees is ensur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rehouse space utilization is maximiz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go is easier and faster to find, track, and retrie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equences of an incorrect proces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sible customer loading error &amp; more retur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ipp locked product / non conform to custom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ventory</a:t>
            </a: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r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83209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-away is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vement of product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om the receiving dock to the most optimal warehouse storage location in a fast, efficient, and effective manner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cessary Resources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MS syste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priate unload equi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ed staf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 standar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mal Warehouses Lay-out desig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 study for travel time for individual tasks (staging to racks zone, to picking zone, to quarantine &amp;  locked zon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53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/ Staging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397031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 &amp; Solu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Product stored safely and efficiently on a pallet (Right Stretch wrapping) to be more easily to mo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priate  equipment to move product from rack to stag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ed staff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standards that allowed pepople to identify which products are more delica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397031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 is an extension of the picking process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st be system-managed and treated with care to ensure that orders are complete, and accura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ially cause late deliveri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Products that are ready too early will clutter staging areas and dispatches that are late, will delay loading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sible increase in return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the packing is not properly prepared and loaded, customer return occur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dam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If weight, product fragility, etc. are not considered, as the products are in the staging, they can be damag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ntory errors / Asset los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if the load is not controlled, there may be missing or leftover products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397031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king consolidates picked items in a sales order and prepares them for shipment to the customer 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eration’s ability to have products ready for departu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just in time for carriers to load their truck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successful pack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systems to release orders, for picking and packing in waves, aligned to specific delivery routes or carrier types(TMS/WMS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oid late deliveries by scheduling picking waves to align with carrier picking up tim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ouble check in the staging must be done by 2 different people. The first control is performed by the person who moves the product from the location to the dock, the second control must be performed by a "controller"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5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440120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mizing this process will allow you to reduce costs significantly and increase your warehouse efficienc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ution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correct picking and automation strategy (single zone, multi zone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ducting an ABC analysis to improve the layout,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ing the Correct Picking Methodolog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right technologie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ies such as mobile and wearables can streamline the picking process having access systems in real time and scan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ilizing software to guide clerks in properly execu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40120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cusing on achieving higher accuracy, as errors can have a direct impact on your customer satisfac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n incorrect warehouse layout will require more walking time and most man-hours  to complete picking operation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incorrect strategy could cause accidents and error in the customers or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40120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 i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collects products in a warehouse to fulfill customer order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 is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tliest proces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the warehouse &amp; the most important proces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 Strategy/ Methodology 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ngle Order Picking: One employee is working on an entire ord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ti-Order Picking: One picker is working on different orders at the same time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warding System: An employees are picking one entire order, but sequential picking in work zon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ti-</a:t>
            </a:r>
            <a:r>
              <a:rPr kumimoji="0" lang="es-A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e</a:t>
            </a: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A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cking</a:t>
            </a: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nual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products are first picking in batch, and then classified for each order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ti-</a:t>
            </a:r>
            <a:r>
              <a:rPr kumimoji="0" lang="es-A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e</a:t>
            </a: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tch Picking with automate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rtation: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mployees are working on n orders parallel, the picking area is divided in zone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F1F43894-199F-4B2C-A64A-093BFA7D094F}"/>
              </a:ext>
            </a:extLst>
          </p:cNvPr>
          <p:cNvSpPr/>
          <p:nvPr/>
        </p:nvSpPr>
        <p:spPr>
          <a:xfrm>
            <a:off x="7622367" y="85513"/>
            <a:ext cx="18473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638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/ </a:t>
            </a: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dling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 &amp; Solu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n is done properly, the storage process fully maximizes the available space in the warehouse and increases labor efficienc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imizing the storage process is only possible having right KPIs are properly tracked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 software that automatically calculates the warehouse storage utilization and tracks the right storage KPIs (WM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lotting optimization systems can help by assisting with the allocation of the best storage location for a given cargo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tilizing the right warehouse storage system according to the size of the facility and product mix allows  to maximize spaces while improving warehouse efficiency.</a:t>
            </a: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n incorrect ABC Analysis will require more time to complete operation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incorrect calculate the Warehouse Storage Utilization will cause big operating problem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the correct Aisle widths &amp; racks are crucial t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imaiz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he space util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tegories of Storage Technologies: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al Alternative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lock Storage/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loor</a:t>
            </a:r>
            <a:r>
              <a:rPr kumimoji="0" lang="en-US" alt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torage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ive Rack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ve-in rack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matic Alternativ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huttle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ystems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S/RS </a:t>
            </a: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r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HBW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s are placed into their most appropriate storage spa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successful stor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 efficient storage process in warehouses is critical because it ensures to make full use of all the available space in the warehouse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ficiency in warehouse storage also keeps the stocks organized without compromising productivit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culate the Warehouse Storage Utilization using WMS Syste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tting KPIs: Carrying Cost of Inventory, Storage Productivity, Space Utilization, Inventory Turnover, Inventory-to-Sales Rati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50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ad/</a:t>
            </a: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ipping</a:t>
            </a:r>
            <a:endParaRPr kumimoji="0" lang="es-AR" sz="2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85592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 &amp; Sol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right software systems to streamline many of the tasks is critical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ocate the right amount of resources to prevent over or under allocation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 shipping mobile application  and device lets you have the right information on hand and in real time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standards that clearly instruct how to load cargo safely and efficiently.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equipment and conveyors to load cargo and clear dock areas faster and more efficientl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ror in preload process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ck of resources to load the truc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 having trucks with the proper specification to loa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a truck dela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 having the system or loads properly labeled for scanning and dispatch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oid late deliveries by scheduling picking waves to align with carrier picking up times.</a:t>
            </a:r>
            <a:endParaRPr kumimoji="0" lang="es-A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ipping is the final warehouse process and the start of the journey of products from the warehouse to the custome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successful shipp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ly if the right order is sorted and loaded, is dispatched to the right customer, travels through the right transit mode, and is delivered safely and on tim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vious processes are also vital to the success of shipping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carrier must monitor the cargo and sign documentation to ensure that the product came out with the correct quantity and qual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cessary Resources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priate load equi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ed staf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 specs Palletized needs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528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CC90EA-D2A5-4EB5-B9E0-77F6320593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CC90EA-D2A5-4EB5-B9E0-77F632059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50099F3-BB01-4181-8284-EEDCFC208D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88D6E81-CAE8-4FE1-8AB3-3B71A6D83E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805" y="6316911"/>
            <a:ext cx="2164356" cy="541089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B622F97-FBE5-49FC-96CD-9742FBF5C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8" y="127000"/>
            <a:ext cx="11986154" cy="79897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Key Warehouse Processes</a:t>
            </a:r>
            <a:br>
              <a:rPr lang="es-ES" sz="2200" dirty="0"/>
            </a:br>
            <a:r>
              <a:rPr lang="es-ES" sz="2200" dirty="0"/>
              <a:t> </a:t>
            </a:r>
            <a:endParaRPr lang="en-US" sz="2200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8E76C14-5971-4710-BA9E-516B21EBC014}"/>
              </a:ext>
            </a:extLst>
          </p:cNvPr>
          <p:cNvSpPr/>
          <p:nvPr/>
        </p:nvSpPr>
        <p:spPr>
          <a:xfrm rot="3955062">
            <a:off x="-752978" y="1354650"/>
            <a:ext cx="1974367" cy="3325185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oper Black" panose="0208090404030B020404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        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oper Black" panose="0208090404030B020404" pitchFamily="18" charset="0"/>
                <a:ea typeface="+mn-ea"/>
                <a:cs typeface="+mn-cs"/>
              </a:rPr>
              <a:t>OPEX</a:t>
            </a: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1B7BCFD-B555-4C9F-B948-A4D7F0F5DAC6}"/>
              </a:ext>
            </a:extLst>
          </p:cNvPr>
          <p:cNvSpPr/>
          <p:nvPr/>
        </p:nvSpPr>
        <p:spPr>
          <a:xfrm>
            <a:off x="70840" y="1026593"/>
            <a:ext cx="12065781" cy="415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urns</a:t>
            </a:r>
            <a:endParaRPr kumimoji="0" lang="es-A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3BB2459F-0386-48A6-8B73-88226CA288BF}"/>
              </a:ext>
            </a:extLst>
          </p:cNvPr>
          <p:cNvSpPr/>
          <p:nvPr/>
        </p:nvSpPr>
        <p:spPr>
          <a:xfrm>
            <a:off x="70840" y="14677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perform the process properly 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519A2F65-0B5D-4CCE-95B6-F2531951096A}"/>
              </a:ext>
            </a:extLst>
          </p:cNvPr>
          <p:cNvSpPr/>
          <p:nvPr/>
        </p:nvSpPr>
        <p:spPr>
          <a:xfrm>
            <a:off x="4147060" y="1481217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s of this proces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A627149-BAB8-475B-8D46-781F4A1ECBB1}"/>
              </a:ext>
            </a:extLst>
          </p:cNvPr>
          <p:cNvSpPr/>
          <p:nvPr/>
        </p:nvSpPr>
        <p:spPr>
          <a:xfrm>
            <a:off x="8200325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receive cargo efficiently and correctly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avoid accumulation at the receiving dock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ution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wer pallet trucks and conveyors to unload cargo and clear dock areas faster and more efficiently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ght software to properly Put-Away goods &amp; allocate the right amount of personnel to unload  (WMS system, labor management systems and dock scheduler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it is necessary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ensioner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utomate the capture of weight and dimensions of pallets to accelerate your receiving processing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4454859B-7430-4A40-8A17-DBC8E3468311}"/>
              </a:ext>
            </a:extLst>
          </p:cNvPr>
          <p:cNvSpPr/>
          <p:nvPr/>
        </p:nvSpPr>
        <p:spPr>
          <a:xfrm>
            <a:off x="8211705" y="1483143"/>
            <a:ext cx="3909454" cy="4150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 to Optimize: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82DAF76-1BEF-43EE-9733-458B00D36B59}"/>
              </a:ext>
            </a:extLst>
          </p:cNvPr>
          <p:cNvSpPr/>
          <p:nvPr/>
        </p:nvSpPr>
        <p:spPr>
          <a:xfrm>
            <a:off x="4129892" y="1997167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blems or No Problems on all subsequent oper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fer of responsibility for the goods to the warehous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ountability on the warehouse for maintaining the condition of the goo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onsibility to filter out damaged good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A8FDBA4-7330-4FEC-B3CD-4CF7016BB8C0}"/>
              </a:ext>
            </a:extLst>
          </p:cNvPr>
          <p:cNvSpPr/>
          <p:nvPr/>
        </p:nvSpPr>
        <p:spPr>
          <a:xfrm>
            <a:off x="70841" y="2017588"/>
            <a:ext cx="3920834" cy="418576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urns is a complex part of the busines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n customers return products, they should seek, and be given Return Managemen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horis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which outlines what is being returned and wh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returns must be traceable, to their order, document and invoic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ing a clear  returns process that delineates what is to be done with the products once received back into the warehouse (return to stock, re-pack, destroy, return to manufacturer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ntory must be updated where products are returned to stock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ce the return is treated, you must return to the free-use stock for sale, with all labels that allow traceabi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id="{7E0E4C20-FC7F-4222-AC1B-84477AF1B3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68338" y="91887"/>
            <a:ext cx="1052821" cy="760693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F1F43894-199F-4B2C-A64A-093BFA7D094F}"/>
              </a:ext>
            </a:extLst>
          </p:cNvPr>
          <p:cNvSpPr/>
          <p:nvPr/>
        </p:nvSpPr>
        <p:spPr>
          <a:xfrm>
            <a:off x="8346118" y="152113"/>
            <a:ext cx="272222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EE37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tar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EE37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105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869"/>
    </mc:Choice>
    <mc:Fallback xmlns="">
      <p:transition spd="slow" advTm="234869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gqhOiPQGaGVZJCdINL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fdewlEBby_bz.S5LHsA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.KEYjXCCMpFQj0X_F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PUns9bQeqnLvJuNjwL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_aRsmRZKyN0bJcKOe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Lq9FP3TRSBhR6NESzO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3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9_Personalizar Design">
  <a:themeElements>
    <a:clrScheme name="Kimberly-Clark">
      <a:dk1>
        <a:srgbClr val="292929"/>
      </a:dk1>
      <a:lt1>
        <a:sysClr val="window" lastClr="FFFFFF"/>
      </a:lt1>
      <a:dk2>
        <a:srgbClr val="000000"/>
      </a:dk2>
      <a:lt2>
        <a:srgbClr val="E7E6E6"/>
      </a:lt2>
      <a:accent1>
        <a:srgbClr val="10069F"/>
      </a:accent1>
      <a:accent2>
        <a:srgbClr val="753BBD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CDA1BA36C978448CBAF5272A4B9CB9" ma:contentTypeVersion="11" ma:contentTypeDescription="Create a new document." ma:contentTypeScope="" ma:versionID="6ccf7e533271224f70819b5ce00456bf">
  <xsd:schema xmlns:xsd="http://www.w3.org/2001/XMLSchema" xmlns:xs="http://www.w3.org/2001/XMLSchema" xmlns:p="http://schemas.microsoft.com/office/2006/metadata/properties" xmlns:ns3="680ad4f8-c4db-4cdc-a402-8b447bb6bdb9" xmlns:ns4="7b291b19-ab28-4952-9396-cba68d605430" targetNamespace="http://schemas.microsoft.com/office/2006/metadata/properties" ma:root="true" ma:fieldsID="bc24ac3f1420e60808a7d53d4376f356" ns3:_="" ns4:_="">
    <xsd:import namespace="680ad4f8-c4db-4cdc-a402-8b447bb6bdb9"/>
    <xsd:import namespace="7b291b19-ab28-4952-9396-cba68d60543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0ad4f8-c4db-4cdc-a402-8b447bb6bd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291b19-ab28-4952-9396-cba68d60543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ED7CDFF-C792-4DBB-A885-4DF8BA8AA2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0ad4f8-c4db-4cdc-a402-8b447bb6bdb9"/>
    <ds:schemaRef ds:uri="7b291b19-ab28-4952-9396-cba68d6054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16FBBE4-D1E4-44F0-938A-E718EAB370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C84760-CDDB-4EE1-94E4-F090CDF3E012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905</Words>
  <Application>Microsoft Office PowerPoint</Application>
  <PresentationFormat>Widescreen</PresentationFormat>
  <Paragraphs>280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Cooper Black</vt:lpstr>
      <vt:lpstr>Wingdings</vt:lpstr>
      <vt:lpstr>13_Personalizar Design</vt:lpstr>
      <vt:lpstr>9_Personalizar Design</vt:lpstr>
      <vt:lpstr>think-cell Slide</vt:lpstr>
      <vt:lpstr>PowerPoint Presentation</vt:lpstr>
      <vt:lpstr>Key Warehouse Processes  </vt:lpstr>
      <vt:lpstr>Key Warehouse Processes  </vt:lpstr>
      <vt:lpstr>Key Warehouse Processes  </vt:lpstr>
      <vt:lpstr>Key Warehouse Processes  </vt:lpstr>
      <vt:lpstr>Key Warehouse Processes  </vt:lpstr>
      <vt:lpstr>Key Warehouse Processes  </vt:lpstr>
      <vt:lpstr>Key Warehouse Processe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lark, Connie</dc:creator>
  <cp:lastModifiedBy>Clark, Connie</cp:lastModifiedBy>
  <cp:revision>1</cp:revision>
  <dcterms:created xsi:type="dcterms:W3CDTF">2020-11-17T13:18:38Z</dcterms:created>
  <dcterms:modified xsi:type="dcterms:W3CDTF">2020-11-17T13:1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a425e9-ff5b-4164-ab21-177a29e6432d_Enabled">
    <vt:lpwstr>True</vt:lpwstr>
  </property>
  <property fmtid="{D5CDD505-2E9C-101B-9397-08002B2CF9AE}" pid="3" name="MSIP_Label_f3a425e9-ff5b-4164-ab21-177a29e6432d_SiteId">
    <vt:lpwstr>fee2180b-69b6-4afe-9f14-ccd70bd4c737</vt:lpwstr>
  </property>
  <property fmtid="{D5CDD505-2E9C-101B-9397-08002B2CF9AE}" pid="4" name="MSIP_Label_f3a425e9-ff5b-4164-ab21-177a29e6432d_Owner">
    <vt:lpwstr>Maria.C.Clark@kcc.com</vt:lpwstr>
  </property>
  <property fmtid="{D5CDD505-2E9C-101B-9397-08002B2CF9AE}" pid="5" name="MSIP_Label_f3a425e9-ff5b-4164-ab21-177a29e6432d_SetDate">
    <vt:lpwstr>2020-11-17T13:19:46.5308042Z</vt:lpwstr>
  </property>
  <property fmtid="{D5CDD505-2E9C-101B-9397-08002B2CF9AE}" pid="6" name="MSIP_Label_f3a425e9-ff5b-4164-ab21-177a29e6432d_Name">
    <vt:lpwstr>K-C Internal Only</vt:lpwstr>
  </property>
  <property fmtid="{D5CDD505-2E9C-101B-9397-08002B2CF9AE}" pid="7" name="MSIP_Label_f3a425e9-ff5b-4164-ab21-177a29e6432d_Application">
    <vt:lpwstr>Microsoft Azure Information Protection</vt:lpwstr>
  </property>
  <property fmtid="{D5CDD505-2E9C-101B-9397-08002B2CF9AE}" pid="8" name="MSIP_Label_f3a425e9-ff5b-4164-ab21-177a29e6432d_ActionId">
    <vt:lpwstr>9aa6bb67-6c2d-4a0e-9dff-a49f86768763</vt:lpwstr>
  </property>
  <property fmtid="{D5CDD505-2E9C-101B-9397-08002B2CF9AE}" pid="9" name="MSIP_Label_f3a425e9-ff5b-4164-ab21-177a29e6432d_Extended_MSFT_Method">
    <vt:lpwstr>Manual</vt:lpwstr>
  </property>
  <property fmtid="{D5CDD505-2E9C-101B-9397-08002B2CF9AE}" pid="10" name="MSIP_Label_3f52e709-27cd-4bee-a620-278331e736b2_Enabled">
    <vt:lpwstr>True</vt:lpwstr>
  </property>
  <property fmtid="{D5CDD505-2E9C-101B-9397-08002B2CF9AE}" pid="11" name="MSIP_Label_3f52e709-27cd-4bee-a620-278331e736b2_SiteId">
    <vt:lpwstr>fee2180b-69b6-4afe-9f14-ccd70bd4c737</vt:lpwstr>
  </property>
  <property fmtid="{D5CDD505-2E9C-101B-9397-08002B2CF9AE}" pid="12" name="MSIP_Label_3f52e709-27cd-4bee-a620-278331e736b2_Owner">
    <vt:lpwstr>Maria.C.Clark@kcc.com</vt:lpwstr>
  </property>
  <property fmtid="{D5CDD505-2E9C-101B-9397-08002B2CF9AE}" pid="13" name="MSIP_Label_3f52e709-27cd-4bee-a620-278331e736b2_SetDate">
    <vt:lpwstr>2020-11-17T13:19:46.5308042Z</vt:lpwstr>
  </property>
  <property fmtid="{D5CDD505-2E9C-101B-9397-08002B2CF9AE}" pid="14" name="MSIP_Label_3f52e709-27cd-4bee-a620-278331e736b2_Name">
    <vt:lpwstr>Without Content Marking</vt:lpwstr>
  </property>
  <property fmtid="{D5CDD505-2E9C-101B-9397-08002B2CF9AE}" pid="15" name="MSIP_Label_3f52e709-27cd-4bee-a620-278331e736b2_Application">
    <vt:lpwstr>Microsoft Azure Information Protection</vt:lpwstr>
  </property>
  <property fmtid="{D5CDD505-2E9C-101B-9397-08002B2CF9AE}" pid="16" name="MSIP_Label_3f52e709-27cd-4bee-a620-278331e736b2_ActionId">
    <vt:lpwstr>9aa6bb67-6c2d-4a0e-9dff-a49f86768763</vt:lpwstr>
  </property>
  <property fmtid="{D5CDD505-2E9C-101B-9397-08002B2CF9AE}" pid="17" name="MSIP_Label_3f52e709-27cd-4bee-a620-278331e736b2_Parent">
    <vt:lpwstr>f3a425e9-ff5b-4164-ab21-177a29e6432d</vt:lpwstr>
  </property>
  <property fmtid="{D5CDD505-2E9C-101B-9397-08002B2CF9AE}" pid="18" name="MSIP_Label_3f52e709-27cd-4bee-a620-278331e736b2_Extended_MSFT_Method">
    <vt:lpwstr>Manual</vt:lpwstr>
  </property>
  <property fmtid="{D5CDD505-2E9C-101B-9397-08002B2CF9AE}" pid="19" name="KCAutoClass">
    <vt:lpwstr>K-C Internal Only Without Content Marking</vt:lpwstr>
  </property>
  <property fmtid="{D5CDD505-2E9C-101B-9397-08002B2CF9AE}" pid="20" name="ContentTypeId">
    <vt:lpwstr>0x010100DFCDA1BA36C978448CBAF5272A4B9CB9</vt:lpwstr>
  </property>
</Properties>
</file>